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6"/>
  </p:notesMasterIdLst>
  <p:handoutMasterIdLst>
    <p:handoutMasterId r:id="rId17"/>
  </p:handoutMasterIdLst>
  <p:sldIdLst>
    <p:sldId id="256" r:id="rId6"/>
    <p:sldId id="693" r:id="rId7"/>
    <p:sldId id="697" r:id="rId8"/>
    <p:sldId id="699" r:id="rId9"/>
    <p:sldId id="695" r:id="rId10"/>
    <p:sldId id="700" r:id="rId11"/>
    <p:sldId id="701" r:id="rId12"/>
    <p:sldId id="702" r:id="rId13"/>
    <p:sldId id="703" r:id="rId14"/>
    <p:sldId id="69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9"/>
            <p14:sldId id="695"/>
            <p14:sldId id="700"/>
            <p14:sldId id="701"/>
            <p14:sldId id="702"/>
            <p14:sldId id="703"/>
            <p14:sldId id="6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1-Jul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1-Jul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7229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5510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979695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31586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19923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1-Jul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1/07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1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6180353"/>
            <a:ext cx="12193443" cy="569387"/>
          </a:xfrm>
        </p:spPr>
        <p:txBody>
          <a:bodyPr/>
          <a:lstStyle/>
          <a:p>
            <a:r>
              <a:rPr lang="en-US" sz="4000" dirty="0">
                <a:solidFill>
                  <a:srgbClr val="0070C0"/>
                </a:solidFill>
              </a:rPr>
              <a:t>Write your own function</a:t>
            </a:r>
            <a:endParaRPr lang="en-GB" sz="4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2219437"/>
            <a:ext cx="11593145" cy="3257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/>
              <a:t>Python function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tends the functionality of Python. It </a:t>
            </a:r>
            <a:r>
              <a:rPr lang="en-US" sz="2800" dirty="0"/>
              <a:t>is a block of organized and reusable code that is used to perform a single and related action. It is a piece of code that runs when it is called or referenced. Python provides many inbuilt functions like </a:t>
            </a:r>
            <a:r>
              <a:rPr lang="en-US" sz="2800" dirty="0">
                <a:solidFill>
                  <a:schemeClr val="accent3"/>
                </a:solidFill>
              </a:rPr>
              <a:t>print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input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type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</a:t>
            </a:r>
            <a:r>
              <a:rPr lang="en-US" sz="2800" dirty="0" err="1">
                <a:solidFill>
                  <a:schemeClr val="accent3"/>
                </a:solidFill>
              </a:rPr>
              <a:t>len</a:t>
            </a:r>
            <a:r>
              <a:rPr lang="en-US" sz="2800" dirty="0">
                <a:solidFill>
                  <a:schemeClr val="accent3"/>
                </a:solidFill>
              </a:rPr>
              <a:t>()</a:t>
            </a:r>
            <a:r>
              <a:rPr lang="en-US" sz="2800" dirty="0"/>
              <a:t>,</a:t>
            </a:r>
            <a:r>
              <a:rPr lang="en-US" sz="2800" dirty="0">
                <a:solidFill>
                  <a:schemeClr val="accent3"/>
                </a:solidFill>
              </a:rPr>
              <a:t> </a:t>
            </a:r>
            <a:r>
              <a:rPr lang="en-US" sz="2800" dirty="0"/>
              <a:t>etc. but it also gives freedom to create your own function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Python functions</a:t>
            </a: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166692" y="653006"/>
            <a:ext cx="11736274" cy="601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asically, we can categorize functions into the following two types:</a:t>
            </a: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2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endParaRPr lang="en-US" sz="2800" b="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endParaRPr lang="en-US" sz="2800" b="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ilt-in functions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 Functions that are pre-defined in Python</a:t>
            </a:r>
          </a:p>
          <a:p>
            <a:pPr marL="0" marR="0">
              <a:spcBef>
                <a:spcPts val="900"/>
              </a:spcBef>
              <a:spcAft>
                <a:spcPts val="900"/>
              </a:spcAft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ser-defined functions 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 Functions defined by the users themselves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ype of Function</a:t>
            </a:r>
          </a:p>
        </p:txBody>
      </p:sp>
      <p:pic>
        <p:nvPicPr>
          <p:cNvPr id="5" name="Picture">
            <a:extLst>
              <a:ext uri="{FF2B5EF4-FFF2-40B4-BE49-F238E27FC236}">
                <a16:creationId xmlns:a16="http://schemas.microsoft.com/office/drawing/2014/main" id="{8942D699-0901-4F3E-A22F-EC8D3C0D03B3}"/>
              </a:ext>
            </a:extLst>
          </p:cNvPr>
          <p:cNvPicPr/>
          <p:nvPr/>
        </p:nvPicPr>
        <p:blipFill rotWithShape="1">
          <a:blip r:embed="rId3"/>
          <a:srcRect l="13756" t="6874" r="14292" b="22149"/>
          <a:stretch/>
        </p:blipFill>
        <p:spPr bwMode="auto">
          <a:xfrm>
            <a:off x="2774731" y="1891856"/>
            <a:ext cx="5975131" cy="3216172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624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1105631"/>
            <a:ext cx="11130455" cy="4967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unction allows us to automate repetitive tasks in a more powerful way than copy-and-pasting. Writing a function has the following advantages: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You can give a function a name that makes your code easier to understand and remember.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s something changes, you only need to update code in one place, instead of many places.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t avoids repetition and makes the code reusable.</a:t>
            </a: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mproves maintainability of the cod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074776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n-GB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Advantages of Python Functions</a:t>
            </a: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2556068"/>
            <a:ext cx="11694073" cy="114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You should consider writing a function whenever you have copied and pasted a block of code more than twic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68963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n-GB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When should you write a function?</a:t>
            </a: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86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68963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User-defined function syntax in Pyth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7EB2F27-7816-46DC-BA78-4330BCB75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609" y="2031406"/>
            <a:ext cx="10871247" cy="315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856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08892" y="725012"/>
            <a:ext cx="11694073" cy="58778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reating a function follows the following </a:t>
            </a:r>
            <a:r>
              <a:rPr lang="en-US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les: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unction blocks begin with the keyword </a:t>
            </a:r>
            <a:r>
              <a:rPr lang="en-US" sz="2000" b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def</a:t>
            </a:r>
            <a:r>
              <a:rPr lang="en-US" sz="2000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ollowed by the </a:t>
            </a:r>
            <a:r>
              <a:rPr lang="en-US" sz="2000" b="1" dirty="0" err="1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unction_name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, parentheses </a:t>
            </a: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( )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, a colon (</a:t>
            </a:r>
            <a:r>
              <a:rPr lang="en-US" sz="2000" b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), and is indented. Function name follows the same rules of naming variables in Python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ny parameters or arguments should be placed within these parentheses. You can add as many arguments as you want, just separate them with a comma. Parameters (arguments) helps to pass values to a function. They may be optional sometimes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A colon (</a:t>
            </a:r>
            <a:r>
              <a:rPr lang="en-US" sz="2000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) to mark the end of the function header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ptional documentation string (docstring) to describe what the function does (for documentation purposes)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One or more valid python statements that make up the function body. Statements must have the same indentation level (Jupyter lab/notebook does this for you when you press return button after the colon mark)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Functions may return a value to the caller, using </a:t>
            </a:r>
            <a:r>
              <a:rPr lang="en-US" sz="2000" b="1" dirty="0">
                <a:solidFill>
                  <a:srgbClr val="5B9B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return</a:t>
            </a:r>
            <a:r>
              <a:rPr lang="en-US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statement. This is optional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7" y="100454"/>
            <a:ext cx="5435163" cy="754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32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Rules in creating a func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AA9032-40AE-47B4-98CE-61DEC8D2AF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8819" y="-1"/>
            <a:ext cx="4718811" cy="1371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7869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768963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Addition of two numbers</a:t>
            </a:r>
          </a:p>
        </p:txBody>
      </p:sp>
      <p:pic>
        <p:nvPicPr>
          <p:cNvPr id="4" name="Picture">
            <a:extLst>
              <a:ext uri="{FF2B5EF4-FFF2-40B4-BE49-F238E27FC236}">
                <a16:creationId xmlns:a16="http://schemas.microsoft.com/office/drawing/2014/main" id="{6F45BE03-0CBD-4A2A-8471-B47A71E0E34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604344" y="1269122"/>
            <a:ext cx="8508125" cy="5068616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42556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06</TotalTime>
  <Words>410</Words>
  <Application>Microsoft Office PowerPoint</Application>
  <PresentationFormat>Widescreen</PresentationFormat>
  <Paragraphs>32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libri Light</vt:lpstr>
      <vt:lpstr>Gotham Light</vt:lpstr>
      <vt:lpstr>Lato Light</vt:lpstr>
      <vt:lpstr>Symbol</vt:lpstr>
      <vt:lpstr>Times New Roman</vt:lpstr>
      <vt:lpstr>1_Office Theme</vt:lpstr>
      <vt:lpstr>2_Office Theme</vt:lpstr>
      <vt:lpstr>think-cell Slide</vt:lpstr>
      <vt:lpstr>Introduction to Programming in Python</vt:lpstr>
      <vt:lpstr>Write your own fun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52</cp:revision>
  <dcterms:created xsi:type="dcterms:W3CDTF">2020-03-16T19:15:12Z</dcterms:created>
  <dcterms:modified xsi:type="dcterms:W3CDTF">2021-07-01T14:3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